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0" r:id="rId5"/>
  </p:sldMasterIdLst>
  <p:notesMasterIdLst>
    <p:notesMasterId r:id="rId7"/>
  </p:notesMasterIdLst>
  <p:handoutMasterIdLst>
    <p:handoutMasterId r:id="rId8"/>
  </p:handoutMasterIdLst>
  <p:sldIdLst>
    <p:sldId id="908" r:id="rId6"/>
  </p:sldIdLst>
  <p:sldSz cx="9144000" cy="6858000" type="screen4x3"/>
  <p:notesSz cx="6769100" cy="9906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003300"/>
    <a:srgbClr val="000000"/>
    <a:srgbClr val="FF9B9B"/>
    <a:srgbClr val="EAED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17" autoAdjust="0"/>
    <p:restoredTop sz="96800" autoAdjust="0"/>
  </p:normalViewPr>
  <p:slideViewPr>
    <p:cSldViewPr>
      <p:cViewPr>
        <p:scale>
          <a:sx n="98" d="100"/>
          <a:sy n="98" d="100"/>
        </p:scale>
        <p:origin x="-540" y="-26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33602" y="2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r">
              <a:defRPr sz="1200"/>
            </a:lvl1pPr>
          </a:lstStyle>
          <a:p>
            <a:fld id="{EDA9908A-E083-4C36-9871-40D86C6917E3}" type="datetimeFigureOut">
              <a:rPr lang="ru-RU" smtClean="0"/>
              <a:t>14.05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09035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33602" y="9409035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r">
              <a:defRPr sz="1200"/>
            </a:lvl1pPr>
          </a:lstStyle>
          <a:p>
            <a:fld id="{44F39C4D-76F6-4BF7-8DBA-B4746DE191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188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34259" y="1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r">
              <a:defRPr sz="1200"/>
            </a:lvl1pPr>
          </a:lstStyle>
          <a:p>
            <a:fld id="{22D29F5E-A7C3-4ED2-9783-D7D7131D1D78}" type="datetimeFigureOut">
              <a:rPr lang="ru-RU" smtClean="0"/>
              <a:t>14.05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9638" y="744538"/>
            <a:ext cx="4949825" cy="3713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00" tIns="45400" rIns="90800" bIns="4540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910" y="4705350"/>
            <a:ext cx="5415280" cy="4457701"/>
          </a:xfrm>
          <a:prstGeom prst="rect">
            <a:avLst/>
          </a:prstGeom>
        </p:spPr>
        <p:txBody>
          <a:bodyPr vert="horz" lIns="90800" tIns="45400" rIns="90800" bIns="4540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08982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34259" y="9408982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r">
              <a:defRPr sz="1200"/>
            </a:lvl1pPr>
          </a:lstStyle>
          <a:p>
            <a:fld id="{29448728-A7EA-4874-AE19-A30EB04A0D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10825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13" Type="http://schemas.openxmlformats.org/officeDocument/2006/relationships/image" Target="../media/image1.png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3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5801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35819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365" y="393700"/>
            <a:ext cx="1874837" cy="56070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7263" y="393700"/>
            <a:ext cx="5473700" cy="56070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3414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957265" y="1711326"/>
            <a:ext cx="7500937" cy="4289425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54511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57265" y="1711326"/>
            <a:ext cx="7500937" cy="4289425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338780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9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82112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18200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07201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 baseline="0">
                <a:latin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30322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7265" y="1711326"/>
            <a:ext cx="3673475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83138" y="1711326"/>
            <a:ext cx="3675062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40302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1417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82473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27452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34232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729509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309960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92439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365" y="393700"/>
            <a:ext cx="1874837" cy="56070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7263" y="393700"/>
            <a:ext cx="5473700" cy="56070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75605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957265" y="1711326"/>
            <a:ext cx="7500937" cy="4289425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</a:p>
        </p:txBody>
      </p:sp>
    </p:spTree>
    <p:extLst>
      <p:ext uri="{BB962C8B-B14F-4D97-AF65-F5344CB8AC3E}">
        <p14:creationId xmlns:p14="http://schemas.microsoft.com/office/powerpoint/2010/main" val="29135978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57265" y="1711326"/>
            <a:ext cx="7500937" cy="4289425"/>
          </a:xfrm>
        </p:spPr>
        <p:txBody>
          <a:bodyPr/>
          <a:lstStyle/>
          <a:p>
            <a:pPr lvl="0"/>
            <a:r>
              <a:rPr lang="ru-RU" noProof="0" smtClean="0"/>
              <a:t>Вставка таблицы</a:t>
            </a:r>
          </a:p>
        </p:txBody>
      </p:sp>
    </p:spTree>
    <p:extLst>
      <p:ext uri="{BB962C8B-B14F-4D97-AF65-F5344CB8AC3E}">
        <p14:creationId xmlns:p14="http://schemas.microsoft.com/office/powerpoint/2010/main" val="26258791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>
            <p:custDataLst>
              <p:tags r:id="rId2"/>
            </p:custDataLst>
          </p:nvPr>
        </p:nvSpPr>
        <p:spPr>
          <a:xfrm>
            <a:off x="0" y="2"/>
            <a:ext cx="9144000" cy="15598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98058525"/>
              </p:ext>
            </p:extLst>
          </p:nvPr>
        </p:nvGraphicFramePr>
        <p:xfrm>
          <a:off x="0" y="1"/>
          <a:ext cx="146538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0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46538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1" y="1"/>
            <a:ext cx="9144001" cy="6864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5" descr="logo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482" y="385173"/>
            <a:ext cx="3128756" cy="900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4809188" y="4777934"/>
            <a:ext cx="3925050" cy="369332"/>
          </a:xfrm>
          <a:prstGeom prst="rect">
            <a:avLst/>
          </a:prstGeom>
        </p:spPr>
        <p:txBody>
          <a:bodyPr anchor="t" anchorCtr="0"/>
          <a:lstStyle>
            <a:lvl1pPr>
              <a:defRPr sz="2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Подзаголовок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809188" y="6400801"/>
            <a:ext cx="3925050" cy="258727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4979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10"/>
          </p:nvPr>
        </p:nvSpPr>
        <p:spPr>
          <a:xfrm>
            <a:off x="7429500" y="6500814"/>
            <a:ext cx="914400" cy="10953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600"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</a:rPr>
              <a:t>ОАО «Сбербанк России»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11"/>
          </p:nvPr>
        </p:nvSpPr>
        <p:spPr>
          <a:xfrm>
            <a:off x="457200" y="6378575"/>
            <a:ext cx="2106613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DA11E139-6758-4579-96E1-B229B845DF59}" type="datetimeFigureOut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5/14/2018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12"/>
          </p:nvPr>
        </p:nvSpPr>
        <p:spPr>
          <a:xfrm>
            <a:off x="8464550" y="6454775"/>
            <a:ext cx="242888" cy="1920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74B743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5D2E47B7-13C5-40C8-BD9B-E2C4F571AC9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334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319109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7265" y="1711326"/>
            <a:ext cx="3673475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83138" y="1711326"/>
            <a:ext cx="3675062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55573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64609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2449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0805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23425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962594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6"/>
          <p:cNvSpPr>
            <a:spLocks noChangeShapeType="1"/>
          </p:cNvSpPr>
          <p:nvPr/>
        </p:nvSpPr>
        <p:spPr bwMode="auto">
          <a:xfrm>
            <a:off x="142877" y="836613"/>
            <a:ext cx="8785225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315" name="Picture 15" descr="logo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056438" y="144465"/>
            <a:ext cx="1871662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723" name="Rectangle 19"/>
          <p:cNvSpPr>
            <a:spLocks noChangeArrowheads="1"/>
          </p:cNvSpPr>
          <p:nvPr userDrawn="1"/>
        </p:nvSpPr>
        <p:spPr bwMode="auto">
          <a:xfrm>
            <a:off x="8836025" y="6616701"/>
            <a:ext cx="323850" cy="24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4B296360-E137-4502-BED6-328F801FA29F}" type="slidenum">
              <a:rPr lang="ru-RU" sz="1200" b="1">
                <a:solidFill>
                  <a:srgbClr val="0066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Unicode MS" pitchFamily="34" charset="-128"/>
                <a:ea typeface="ヒラギノ角ゴ Pro W3"/>
                <a:cs typeface="ヒラギノ角ゴ Pro W3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00" dirty="0">
              <a:solidFill>
                <a:srgbClr val="0066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 Unicode MS" pitchFamily="34" charset="-128"/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535498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800">
          <a:solidFill>
            <a:srgbClr val="00703C"/>
          </a:solidFill>
          <a:latin typeface="Arial Unicode MS" pitchFamily="34" charset="-128"/>
          <a:ea typeface="+mn-ea"/>
          <a:cs typeface="+mn-cs"/>
        </a:defRPr>
      </a:lvl1pPr>
      <a:lvl2pPr marL="742950" indent="-28575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00703C"/>
          </a:solidFill>
          <a:latin typeface="Arial Unicode MS" pitchFamily="34" charset="-128"/>
          <a:ea typeface="+mn-ea"/>
        </a:defRPr>
      </a:lvl2pPr>
      <a:lvl3pPr marL="11430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rgbClr val="00703C"/>
          </a:solidFill>
          <a:latin typeface="Arial Unicode MS" pitchFamily="34" charset="-128"/>
          <a:ea typeface="+mn-ea"/>
        </a:defRPr>
      </a:lvl3pPr>
      <a:lvl4pPr marL="15621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Arial Unicode MS" pitchFamily="34" charset="-128"/>
          <a:ea typeface="+mn-ea"/>
        </a:defRPr>
      </a:lvl4pPr>
      <a:lvl5pPr marL="19812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Arial Unicode MS" pitchFamily="34" charset="-128"/>
          <a:ea typeface="+mn-ea"/>
        </a:defRPr>
      </a:lvl5pPr>
      <a:lvl6pPr marL="24384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6pPr>
      <a:lvl7pPr marL="28956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7pPr>
      <a:lvl8pPr marL="33528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8pPr>
      <a:lvl9pPr marL="38100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4" descr="LEFT_01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646113" cy="6191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Picture 23" descr="LEFT_01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646113" cy="6191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57276" y="393701"/>
            <a:ext cx="5603875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819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57265" y="1711326"/>
            <a:ext cx="7500937" cy="428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72710" name="Line 6"/>
          <p:cNvSpPr>
            <a:spLocks noChangeShapeType="1"/>
          </p:cNvSpPr>
          <p:nvPr/>
        </p:nvSpPr>
        <p:spPr bwMode="auto">
          <a:xfrm>
            <a:off x="1066800" y="1014413"/>
            <a:ext cx="7689850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lnSpc>
                <a:spcPct val="90000"/>
              </a:lnSpc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2713" name="Line 9"/>
          <p:cNvSpPr>
            <a:spLocks noChangeShapeType="1"/>
          </p:cNvSpPr>
          <p:nvPr/>
        </p:nvSpPr>
        <p:spPr bwMode="auto">
          <a:xfrm>
            <a:off x="0" y="1014413"/>
            <a:ext cx="652463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ru-RU" sz="2400">
              <a:solidFill>
                <a:srgbClr val="000000"/>
              </a:solidFill>
              <a:ea typeface="ヒラギノ角ゴ Pro W3" pitchFamily="-128" charset="-128"/>
            </a:endParaRPr>
          </a:p>
        </p:txBody>
      </p:sp>
      <p:pic>
        <p:nvPicPr>
          <p:cNvPr id="8200" name="Picture 15" descr="logo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9913" y="366714"/>
            <a:ext cx="187166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201" name="Group 13"/>
          <p:cNvGrpSpPr>
            <a:grpSpLocks/>
          </p:cNvGrpSpPr>
          <p:nvPr/>
        </p:nvGrpSpPr>
        <p:grpSpPr bwMode="auto">
          <a:xfrm>
            <a:off x="8096250" y="6242051"/>
            <a:ext cx="1047750" cy="241300"/>
            <a:chOff x="5100" y="3932"/>
            <a:chExt cx="660" cy="152"/>
          </a:xfrm>
        </p:grpSpPr>
        <p:sp>
          <p:nvSpPr>
            <p:cNvPr id="72706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endParaRPr lang="ru-RU" sz="2400">
                <a:solidFill>
                  <a:srgbClr val="000000"/>
                </a:solidFill>
                <a:ea typeface="ヒラギノ角ゴ Pro W3" pitchFamily="-128" charset="-128"/>
              </a:endParaRPr>
            </a:p>
          </p:txBody>
        </p:sp>
        <p:sp>
          <p:nvSpPr>
            <p:cNvPr id="5131" name="Rectangle 11"/>
            <p:cNvSpPr>
              <a:spLocks noChangeArrowheads="1"/>
            </p:cNvSpPr>
            <p:nvPr userDrawn="1"/>
          </p:nvSpPr>
          <p:spPr bwMode="auto">
            <a:xfrm>
              <a:off x="5664" y="3932"/>
              <a:ext cx="96" cy="152"/>
            </a:xfrm>
            <a:prstGeom prst="rect">
              <a:avLst/>
            </a:prstGeom>
            <a:solidFill>
              <a:srgbClr val="7DC24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eaLnBrk="0" hangingPunct="0">
                <a:lnSpc>
                  <a:spcPct val="90000"/>
                </a:lnSpc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72723" name="Rectangle 19"/>
          <p:cNvSpPr>
            <a:spLocks noChangeArrowheads="1"/>
          </p:cNvSpPr>
          <p:nvPr/>
        </p:nvSpPr>
        <p:spPr bwMode="auto">
          <a:xfrm>
            <a:off x="8197850" y="6224588"/>
            <a:ext cx="6413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fld id="{4C58DF2D-5FE7-4865-81F3-0673D8BC5FE1}" type="slidenum">
              <a:rPr lang="ru-RU" b="1">
                <a:solidFill>
                  <a:srgbClr val="000000"/>
                </a:solidFill>
                <a:ea typeface="ヒラギノ角ゴ Pro W3" pitchFamily="-128" charset="-128"/>
              </a:rPr>
              <a:pPr eaLnBrk="0" hangingPunct="0">
                <a:defRPr/>
              </a:pPr>
              <a:t>‹#›</a:t>
            </a:fld>
            <a:endParaRPr lang="ru-RU">
              <a:solidFill>
                <a:srgbClr val="000000"/>
              </a:solidFill>
              <a:ea typeface="ヒラギノ角ゴ Pro W3" pitchFamily="-12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62327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342900" indent="-3429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2800">
          <a:solidFill>
            <a:srgbClr val="00703C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00703C"/>
          </a:solidFill>
          <a:latin typeface="+mn-lt"/>
          <a:ea typeface="+mn-ea"/>
        </a:defRPr>
      </a:lvl2pPr>
      <a:lvl3pPr marL="1143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rgbClr val="00703C"/>
          </a:solidFill>
          <a:latin typeface="+mn-lt"/>
          <a:ea typeface="+mn-ea"/>
        </a:defRPr>
      </a:lvl3pPr>
      <a:lvl4pPr marL="15621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+mn-lt"/>
          <a:ea typeface="+mn-ea"/>
        </a:defRPr>
      </a:lvl4pPr>
      <a:lvl5pPr marL="19812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  <a:ea typeface="+mn-ea"/>
        </a:defRPr>
      </a:lvl5pPr>
      <a:lvl6pPr marL="24384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6pPr>
      <a:lvl7pPr marL="28956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7pPr>
      <a:lvl8pPr marL="33528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8pPr>
      <a:lvl9pPr marL="3810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67544" y="227610"/>
            <a:ext cx="58326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</a:rPr>
              <a:t>Совместный Проект ПАО Сбербанк и </a:t>
            </a:r>
            <a:r>
              <a:rPr lang="en-US" b="1" dirty="0" smtClean="0">
                <a:solidFill>
                  <a:srgbClr val="C00000"/>
                </a:solidFill>
              </a:rPr>
              <a:t>Google</a:t>
            </a:r>
            <a:r>
              <a:rPr lang="ru-RU" b="1" dirty="0" smtClean="0">
                <a:solidFill>
                  <a:srgbClr val="C00000"/>
                </a:solidFill>
              </a:rPr>
              <a:t>, при поддержке Правительства Пермского края</a:t>
            </a:r>
            <a:endParaRPr lang="ru-RU" b="1" dirty="0">
              <a:solidFill>
                <a:srgbClr val="C00000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3835542"/>
              </p:ext>
            </p:extLst>
          </p:nvPr>
        </p:nvGraphicFramePr>
        <p:xfrm>
          <a:off x="323528" y="980728"/>
          <a:ext cx="8712968" cy="2026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6484"/>
                <a:gridCol w="4356484"/>
              </a:tblGrid>
              <a:tr h="936104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ru-RU" sz="1200" u="sng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ь Проекта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казать поддержку развитию предпринимательства в России за счёт формирования ключевых бизнес-компетенций в рамках образовательной программы на основе современных технологий обучения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endParaRPr lang="ru-RU" sz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ru-RU" sz="1200" u="sng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евая аудитория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: действующие микропредприятия, бизнесы на начальном этапе развития, самозанятые потенциальные предприниматели</a:t>
                      </a:r>
                      <a:endParaRPr lang="ru-RU" sz="12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u="sng" dirty="0" smtClean="0">
                          <a:solidFill>
                            <a:srgbClr val="C00000"/>
                          </a:solidFill>
                        </a:rPr>
                        <a:t>Ключевые принципы</a:t>
                      </a:r>
                      <a:r>
                        <a:rPr lang="ru-RU" sz="1200" u="sng" baseline="0" dirty="0" smtClean="0">
                          <a:solidFill>
                            <a:srgbClr val="C00000"/>
                          </a:solidFill>
                        </a:rPr>
                        <a:t> построения программы: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Широкий охват за счет использования современных технологий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u="sng" baseline="0" dirty="0" smtClean="0">
                          <a:solidFill>
                            <a:schemeClr val="tx1"/>
                          </a:solidFill>
                        </a:rPr>
                        <a:t>Полностью бесплатный доступ к программе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Ориентация на практику, базовые знания по теории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Обеспечение высокой вовлеченности за счет очных мероприятий и востребованности за счёт реакции на обратную связь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Привлечение ведущих практиков к созданию контента и проведению мероприятий</a:t>
                      </a:r>
                    </a:p>
                    <a:p>
                      <a:endParaRPr lang="ru-RU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55576" y="2780928"/>
            <a:ext cx="7560840" cy="3693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Регистрация по ссылке: </a:t>
            </a:r>
            <a:r>
              <a:rPr lang="en-US" b="1" dirty="0" smtClean="0"/>
              <a:t>https</a:t>
            </a:r>
            <a:r>
              <a:rPr lang="ru-RU" b="1" dirty="0" smtClean="0"/>
              <a:t>://</a:t>
            </a:r>
            <a:r>
              <a:rPr lang="en-US" b="1" dirty="0" smtClean="0"/>
              <a:t>www.business-class.pro</a:t>
            </a:r>
            <a:endParaRPr lang="ru-RU" b="1" dirty="0"/>
          </a:p>
        </p:txBody>
      </p:sp>
      <p:sp>
        <p:nvSpPr>
          <p:cNvPr id="8" name="TextBox 7"/>
          <p:cNvSpPr txBox="1"/>
          <p:nvPr/>
        </p:nvSpPr>
        <p:spPr>
          <a:xfrm>
            <a:off x="380906" y="3150260"/>
            <a:ext cx="84969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u="sng" dirty="0" smtClean="0">
                <a:solidFill>
                  <a:srgbClr val="006600"/>
                </a:solidFill>
              </a:rPr>
              <a:t>Программа включает 2 траектории участия:</a:t>
            </a:r>
          </a:p>
          <a:p>
            <a:endParaRPr lang="ru-RU" dirty="0" smtClean="0"/>
          </a:p>
          <a:p>
            <a:endParaRPr lang="ru-RU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0583698"/>
              </p:ext>
            </p:extLst>
          </p:nvPr>
        </p:nvGraphicFramePr>
        <p:xfrm>
          <a:off x="650531" y="3553782"/>
          <a:ext cx="8069826" cy="13153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74563"/>
                <a:gridCol w="4095263"/>
              </a:tblGrid>
              <a:tr h="1315378">
                <a:tc>
                  <a:txBody>
                    <a:bodyPr/>
                    <a:lstStyle/>
                    <a:p>
                      <a:r>
                        <a:rPr lang="ru-RU" sz="1100" b="1" u="sng" dirty="0" smtClean="0">
                          <a:solidFill>
                            <a:schemeClr val="tx1"/>
                          </a:solidFill>
                        </a:rPr>
                        <a:t>Для желающих начать собственный бизнес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Бизнес-моделирование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Исследование рынк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Поиск клиентов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Продажи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Регистрация бизнес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Финансовый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 учёт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u="sng" dirty="0" smtClean="0">
                          <a:solidFill>
                            <a:schemeClr val="tx1"/>
                          </a:solidFill>
                        </a:rPr>
                        <a:t>Для желающих развивать существующий бизнес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Анализ бизнес-процессов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Конкурентная борьб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Продвижение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Увеличение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 продаж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Финансовый учёт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Стратегия развития</a:t>
                      </a:r>
                      <a:endParaRPr lang="ru-RU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611560" y="5085184"/>
            <a:ext cx="8208912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u="sng" dirty="0" smtClean="0">
                <a:solidFill>
                  <a:srgbClr val="003300"/>
                </a:solidFill>
              </a:rPr>
              <a:t>Онлайн-программа «Бизнес класс» включает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/>
              <a:t>Просмотр </a:t>
            </a:r>
            <a:r>
              <a:rPr lang="ru-RU" sz="1200" dirty="0" err="1" smtClean="0"/>
              <a:t>видеоуроков</a:t>
            </a:r>
            <a:r>
              <a:rPr lang="ru-RU" sz="1200" dirty="0" smtClean="0"/>
              <a:t> (8 модулей по 5-7 роликов около 5 мин каждый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/>
              <a:t>Тематические </a:t>
            </a:r>
            <a:r>
              <a:rPr lang="ru-RU" sz="1200" dirty="0" err="1" smtClean="0"/>
              <a:t>вебинары</a:t>
            </a:r>
            <a:r>
              <a:rPr lang="ru-RU" sz="1200" dirty="0" smtClean="0"/>
              <a:t> эксперта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/>
              <a:t>Тесты, практические задания, полезные материал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/>
              <a:t>За верное выполнение заданий участник получает баллы, которые складываются в общий рейтинг</a:t>
            </a:r>
          </a:p>
          <a:p>
            <a:endParaRPr lang="ru-RU" sz="1200" dirty="0"/>
          </a:p>
          <a:p>
            <a:r>
              <a:rPr lang="ru-RU" sz="1400" b="1" u="sng" dirty="0" smtClean="0">
                <a:solidFill>
                  <a:srgbClr val="C00000"/>
                </a:solidFill>
              </a:rPr>
              <a:t>Только лидерам рейтинга, прошедшим отбор в интенсивном режиме будут доступны:</a:t>
            </a:r>
            <a:r>
              <a:rPr lang="ru-RU" sz="1400" dirty="0" smtClean="0">
                <a:solidFill>
                  <a:srgbClr val="C00000"/>
                </a:solidFill>
              </a:rPr>
              <a:t> </a:t>
            </a:r>
            <a:r>
              <a:rPr lang="ru-RU" sz="1400" dirty="0" smtClean="0"/>
              <a:t>мастер-классы в регионе, работа с наставником, </a:t>
            </a:r>
            <a:r>
              <a:rPr lang="ru-RU" sz="1400" dirty="0" err="1" smtClean="0"/>
              <a:t>вебинары</a:t>
            </a:r>
            <a:r>
              <a:rPr lang="ru-RU" sz="1400" dirty="0" smtClean="0"/>
              <a:t> и консультации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87151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hZPQuPQkaTUMxW67pm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U05K70tEmacXn73uvs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q1dHhKWUSdrbDhQ5Dt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YkjVQaKUmjlNz1RN0.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tiefm5qkeUIc_m1WCVEA"/>
</p:tagLst>
</file>

<file path=ppt/theme/theme1.xml><?xml version="1.0" encoding="utf-8"?>
<a:theme xmlns:a="http://schemas.openxmlformats.org/drawingml/2006/main" name="sber_present_gedonizm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algn="ctr">
          <a:solidFill>
            <a:schemeClr val="tx1"/>
          </a:solidFill>
          <a:round/>
          <a:headEnd/>
          <a:tailEnd/>
        </a:ln>
      </a:spPr>
      <a:bodyPr/>
      <a:lstStyle>
        <a:defPPr eaLnBrk="0" hangingPunct="0">
          <a:defRPr sz="2400">
            <a:solidFill>
              <a:schemeClr val="tx1"/>
            </a:solidFill>
            <a:latin typeface="Arial" pitchFamily="34" charset="0"/>
            <a:ea typeface="ヒラギノ角ゴ Pro W3"/>
            <a:cs typeface="ヒラギノ角ゴ Pro W3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Год xmlns="ffa762ea-d9fa-4e61-8bdb-941932a01cec">2014</Год>
    <Месяц xmlns="ffa762ea-d9fa-4e61-8bdb-941932a01cec">5</Месяц>
    <Статус_x0020_документа xmlns="ffa762ea-d9fa-4e61-8bdb-941932a01cec">Актуальный</Статус_x0020_документа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8681994B7691BC449571972BA0985F9D" ma:contentTypeVersion="4" ma:contentTypeDescription="Создание документа." ma:contentTypeScope="" ma:versionID="1e0dc09c6429cd9e00a681efc189fc27">
  <xsd:schema xmlns:xsd="http://www.w3.org/2001/XMLSchema" xmlns:p="http://schemas.microsoft.com/office/2006/metadata/properties" xmlns:ns1="ffa762ea-d9fa-4e61-8bdb-941932a01cec" targetNamespace="http://schemas.microsoft.com/office/2006/metadata/properties" ma:root="true" ma:fieldsID="77bf85eca2e48ccd734226bc3c7e02fe" ns1:_="">
    <xsd:import namespace="ffa762ea-d9fa-4e61-8bdb-941932a01cec"/>
    <xsd:element name="properties">
      <xsd:complexType>
        <xsd:sequence>
          <xsd:element name="documentManagement">
            <xsd:complexType>
              <xsd:all>
                <xsd:element ref="ns1:Год"/>
                <xsd:element ref="ns1:Месяц"/>
                <xsd:element ref="ns1:Статус_x0020_документа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ffa762ea-d9fa-4e61-8bdb-941932a01cec" elementFormDefault="qualified">
    <xsd:import namespace="http://schemas.microsoft.com/office/2006/documentManagement/types"/>
    <xsd:element name="Год" ma:index="0" ma:displayName="Год" ma:format="Dropdown" ma:internalName="_x0413__x043e__x0434_">
      <xsd:simpleType>
        <xsd:restriction base="dms:Choice">
          <xsd:enumeration value="2011"/>
          <xsd:enumeration value="2012"/>
          <xsd:enumeration value="2013"/>
          <xsd:enumeration value="2014"/>
          <xsd:enumeration value="2015"/>
          <xsd:enumeration value="2016"/>
        </xsd:restriction>
      </xsd:simpleType>
    </xsd:element>
    <xsd:element name="Месяц" ma:index="1" ma:displayName="Месяц" ma:format="Dropdown" ma:internalName="_x041c__x0435__x0441__x044f__x0446_">
      <xsd:simpleType>
        <xsd:restriction base="dms:Choice">
          <xsd:enumeration value="1"/>
          <xsd:enumeration value="2"/>
          <xsd:enumeration value="3"/>
          <xsd:enumeration value="4"/>
          <xsd:enumeration value="5"/>
          <xsd:enumeration value="6"/>
          <xsd:enumeration value="7"/>
          <xsd:enumeration value="8"/>
          <xsd:enumeration value="9"/>
          <xsd:enumeration value="10"/>
          <xsd:enumeration value="11"/>
          <xsd:enumeration value="12"/>
        </xsd:restriction>
      </xsd:simpleType>
    </xsd:element>
    <xsd:element name="Статус_x0020_документа" ma:index="10" ma:displayName="Статус" ma:default="Актуальный" ma:format="Dropdown" ma:internalName="_x0421__x0442__x0430__x0442__x0443__x0441__x0020__x0434__x043e__x043a__x0443__x043c__x0435__x043d__x0442__x0430_">
      <xsd:simpleType>
        <xsd:restriction base="dms:Choice">
          <xsd:enumeration value="Актуальный"/>
          <xsd:enumeration value="Не актуальный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Тип содержимого" ma:readOnly="true"/>
        <xsd:element ref="dc:title" minOccurs="0" maxOccurs="1" ma:index="3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BA4E7F46-08C8-45EB-9219-8D4A2C092C09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ffa762ea-d9fa-4e61-8bdb-941932a01cec"/>
    <ds:schemaRef ds:uri="http://purl.org/dc/elements/1.1/"/>
    <ds:schemaRef ds:uri="http://www.w3.org/XML/1998/namespace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CC98D83-CF3A-443F-8938-06421FAC986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B491A3C-90EF-40DE-85D5-1B564FE2A7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a762ea-d9fa-4e61-8bdb-941932a01cec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0665</TotalTime>
  <Words>211</Words>
  <Application>Microsoft Office PowerPoint</Application>
  <PresentationFormat>Экран (4:3)</PresentationFormat>
  <Paragraphs>33</Paragraphs>
  <Slides>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4" baseType="lpstr">
      <vt:lpstr>sber_present_gedonizm1</vt:lpstr>
      <vt:lpstr>Тема1</vt:lpstr>
      <vt:lpstr>think-cell Slide</vt:lpstr>
      <vt:lpstr>Презентация PowerPoint</vt:lpstr>
    </vt:vector>
  </TitlesOfParts>
  <Company>ZUB SB RF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орисов Сергей Вячеславович</dc:creator>
  <cp:lastModifiedBy>Орлова Кристина Руслановна</cp:lastModifiedBy>
  <cp:revision>3067</cp:revision>
  <cp:lastPrinted>2018-04-24T12:51:15Z</cp:lastPrinted>
  <dcterms:created xsi:type="dcterms:W3CDTF">2014-05-07T06:35:39Z</dcterms:created>
  <dcterms:modified xsi:type="dcterms:W3CDTF">2018-05-14T05:02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81994B7691BC449571972BA0985F9D</vt:lpwstr>
  </property>
</Properties>
</file>